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7" r:id="rId2"/>
  </p:sldIdLst>
  <p:sldSz cx="12192000" cy="6858000"/>
  <p:notesSz cx="6858000" cy="9144000"/>
  <p:custDataLst>
    <p:tags r:id="rId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CE6EB"/>
    <a:srgbClr val="00819B"/>
    <a:srgbClr val="00667A"/>
    <a:srgbClr val="00646C"/>
    <a:srgbClr val="005A6C"/>
    <a:srgbClr val="00627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106" d="100"/>
          <a:sy n="106" d="100"/>
        </p:scale>
        <p:origin x="654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482CB5F-0F31-4707-B2BC-629973CFB4B4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BC9E7E4F-055B-433E-A0F5-2314200C22AA}">
      <dgm:prSet phldrT="[Text]" custT="1"/>
      <dgm:spPr>
        <a:xfrm>
          <a:off x="0" y="0"/>
          <a:ext cx="2556292" cy="726602"/>
        </a:xfrm>
        <a:prstGeom prst="chevron">
          <a:avLst/>
        </a:prstGeom>
        <a:solidFill>
          <a:srgbClr val="00819B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sz="1400" dirty="0">
              <a:solidFill>
                <a:srgbClr val="FFFFFF"/>
              </a:solidFill>
              <a:latin typeface="Calibri" panose="020F0502020204030204"/>
              <a:ea typeface="+mn-ea"/>
              <a:cs typeface="+mn-cs"/>
            </a:rPr>
            <a:t>Traditional</a:t>
          </a:r>
          <a:br>
            <a:rPr lang="en-US" sz="1400" dirty="0">
              <a:solidFill>
                <a:srgbClr val="FFFFFF"/>
              </a:solidFill>
              <a:latin typeface="Calibri" panose="020F0502020204030204"/>
              <a:ea typeface="+mn-ea"/>
              <a:cs typeface="+mn-cs"/>
            </a:rPr>
          </a:br>
          <a:r>
            <a:rPr lang="en-US" sz="1400" dirty="0">
              <a:solidFill>
                <a:srgbClr val="FFFFFF"/>
              </a:solidFill>
              <a:latin typeface="Calibri" panose="020F0502020204030204"/>
              <a:ea typeface="+mn-ea"/>
              <a:cs typeface="+mn-cs"/>
            </a:rPr>
            <a:t>Engineering</a:t>
          </a:r>
        </a:p>
      </dgm:t>
    </dgm:pt>
    <dgm:pt modelId="{0DB8B896-8EFA-44EB-B37A-DBC06C789C5D}" type="parTrans" cxnId="{9AA1B987-4E80-44DA-AA69-CB1C96F3EB86}">
      <dgm:prSet/>
      <dgm:spPr/>
      <dgm:t>
        <a:bodyPr/>
        <a:lstStyle/>
        <a:p>
          <a:endParaRPr lang="en-US" sz="1400"/>
        </a:p>
      </dgm:t>
    </dgm:pt>
    <dgm:pt modelId="{3B588624-0AD4-4745-B14E-1A30270C6B0F}" type="sibTrans" cxnId="{9AA1B987-4E80-44DA-AA69-CB1C96F3EB86}">
      <dgm:prSet/>
      <dgm:spPr/>
      <dgm:t>
        <a:bodyPr/>
        <a:lstStyle/>
        <a:p>
          <a:endParaRPr lang="en-US" sz="1400"/>
        </a:p>
      </dgm:t>
    </dgm:pt>
    <dgm:pt modelId="{F75B5AD7-FEF3-40E6-982D-CDE111F743F8}">
      <dgm:prSet phldrT="[Text]" custT="1"/>
      <dgm:spPr>
        <a:xfrm>
          <a:off x="2305054" y="0"/>
          <a:ext cx="2556292" cy="726602"/>
        </a:xfrm>
        <a:prstGeom prst="chevron">
          <a:avLst/>
        </a:prstGeom>
        <a:solidFill>
          <a:srgbClr val="00819B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sz="1400" dirty="0">
              <a:solidFill>
                <a:srgbClr val="FFFFFF"/>
              </a:solidFill>
              <a:latin typeface="Calibri" panose="020F0502020204030204"/>
              <a:ea typeface="+mn-ea"/>
              <a:cs typeface="+mn-cs"/>
            </a:rPr>
            <a:t>Model-Based Engineering</a:t>
          </a:r>
        </a:p>
      </dgm:t>
    </dgm:pt>
    <dgm:pt modelId="{DE1BF46E-A9AF-4C4D-85FF-D4057835E9D2}" type="parTrans" cxnId="{45825931-3BCB-45A7-96A0-7A606C00D68D}">
      <dgm:prSet/>
      <dgm:spPr/>
      <dgm:t>
        <a:bodyPr/>
        <a:lstStyle/>
        <a:p>
          <a:endParaRPr lang="en-US" sz="1400"/>
        </a:p>
      </dgm:t>
    </dgm:pt>
    <dgm:pt modelId="{730B8FD4-76A8-409D-A3B3-786FE6B95430}" type="sibTrans" cxnId="{45825931-3BCB-45A7-96A0-7A606C00D68D}">
      <dgm:prSet/>
      <dgm:spPr/>
      <dgm:t>
        <a:bodyPr/>
        <a:lstStyle/>
        <a:p>
          <a:endParaRPr lang="en-US" sz="1400"/>
        </a:p>
      </dgm:t>
    </dgm:pt>
    <dgm:pt modelId="{12D72B99-6B12-409A-826A-F4F0E673BE2F}">
      <dgm:prSet phldrT="[Text]" custT="1"/>
      <dgm:spPr>
        <a:xfrm>
          <a:off x="4605717" y="0"/>
          <a:ext cx="2556292" cy="726602"/>
        </a:xfrm>
        <a:prstGeom prst="chevron">
          <a:avLst/>
        </a:prstGeom>
        <a:solidFill>
          <a:srgbClr val="00819B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sz="1400" dirty="0">
              <a:solidFill>
                <a:srgbClr val="FFFFFF"/>
              </a:solidFill>
              <a:latin typeface="Calibri" panose="020F0502020204030204"/>
              <a:ea typeface="+mn-ea"/>
              <a:cs typeface="+mn-cs"/>
            </a:rPr>
            <a:t>Verification-Based Engineering</a:t>
          </a:r>
        </a:p>
      </dgm:t>
    </dgm:pt>
    <dgm:pt modelId="{FD771D06-3D38-4F1B-ACBB-E88C56AED09B}" type="parTrans" cxnId="{7A29A9B2-333A-42BD-98F0-B5006E014DB7}">
      <dgm:prSet/>
      <dgm:spPr/>
      <dgm:t>
        <a:bodyPr/>
        <a:lstStyle/>
        <a:p>
          <a:endParaRPr lang="en-US" sz="1400"/>
        </a:p>
      </dgm:t>
    </dgm:pt>
    <dgm:pt modelId="{81F85E9D-B78A-433F-8261-1B9119FAF9EB}" type="sibTrans" cxnId="{7A29A9B2-333A-42BD-98F0-B5006E014DB7}">
      <dgm:prSet/>
      <dgm:spPr/>
      <dgm:t>
        <a:bodyPr/>
        <a:lstStyle/>
        <a:p>
          <a:endParaRPr lang="en-US" sz="1400"/>
        </a:p>
      </dgm:t>
    </dgm:pt>
    <dgm:pt modelId="{A7C281AE-2C52-4ED9-AD67-7B8A70E02631}">
      <dgm:prSet phldrT="[Text]" custT="1"/>
      <dgm:spPr>
        <a:xfrm>
          <a:off x="6906381" y="0"/>
          <a:ext cx="2556292" cy="726602"/>
        </a:xfrm>
        <a:prstGeom prst="chevron">
          <a:avLst/>
        </a:prstGeom>
        <a:solidFill>
          <a:srgbClr val="00819B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sz="1400" dirty="0">
              <a:solidFill>
                <a:srgbClr val="FFFFFF"/>
              </a:solidFill>
              <a:latin typeface="Calibri" panose="020F0502020204030204"/>
              <a:ea typeface="+mn-ea"/>
              <a:cs typeface="+mn-cs"/>
            </a:rPr>
            <a:t>Synthesis-Based Engineering</a:t>
          </a:r>
        </a:p>
      </dgm:t>
    </dgm:pt>
    <dgm:pt modelId="{C11260BF-E214-47D9-B40D-C339C2EF99C3}" type="parTrans" cxnId="{5DF4A39A-4375-4722-B567-1B740233083D}">
      <dgm:prSet/>
      <dgm:spPr/>
      <dgm:t>
        <a:bodyPr/>
        <a:lstStyle/>
        <a:p>
          <a:endParaRPr lang="en-US" sz="1400"/>
        </a:p>
      </dgm:t>
    </dgm:pt>
    <dgm:pt modelId="{2A5B73B2-9770-4286-8E62-AE3F22763BD8}" type="sibTrans" cxnId="{5DF4A39A-4375-4722-B567-1B740233083D}">
      <dgm:prSet/>
      <dgm:spPr/>
      <dgm:t>
        <a:bodyPr/>
        <a:lstStyle/>
        <a:p>
          <a:endParaRPr lang="en-US" sz="1400"/>
        </a:p>
      </dgm:t>
    </dgm:pt>
    <dgm:pt modelId="{2808B75B-CDCA-429D-983E-B4760B8CCFAE}" type="pres">
      <dgm:prSet presAssocID="{B482CB5F-0F31-4707-B2BC-629973CFB4B4}" presName="Name0" presStyleCnt="0">
        <dgm:presLayoutVars>
          <dgm:dir/>
          <dgm:animLvl val="lvl"/>
          <dgm:resizeHandles val="exact"/>
        </dgm:presLayoutVars>
      </dgm:prSet>
      <dgm:spPr/>
    </dgm:pt>
    <dgm:pt modelId="{459827DC-FF18-40A3-8B5A-741CDB3C043D}" type="pres">
      <dgm:prSet presAssocID="{BC9E7E4F-055B-433E-A0F5-2314200C22AA}" presName="parTxOnly" presStyleLbl="node1" presStyleIdx="0" presStyleCnt="4" custLinFactNeighborX="-5564">
        <dgm:presLayoutVars>
          <dgm:chMax val="0"/>
          <dgm:chPref val="0"/>
          <dgm:bulletEnabled val="1"/>
        </dgm:presLayoutVars>
      </dgm:prSet>
      <dgm:spPr/>
    </dgm:pt>
    <dgm:pt modelId="{8BC558A6-0C2F-4B07-83B8-DE85E50A8469}" type="pres">
      <dgm:prSet presAssocID="{3B588624-0AD4-4745-B14E-1A30270C6B0F}" presName="parTxOnlySpace" presStyleCnt="0"/>
      <dgm:spPr/>
    </dgm:pt>
    <dgm:pt modelId="{EB832203-95F6-4E01-93DA-684BD5A905EC}" type="pres">
      <dgm:prSet presAssocID="{F75B5AD7-FEF3-40E6-982D-CDE111F743F8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7371826E-A205-4FBE-A1B7-DD918663CEF4}" type="pres">
      <dgm:prSet presAssocID="{730B8FD4-76A8-409D-A3B3-786FE6B95430}" presName="parTxOnlySpace" presStyleCnt="0"/>
      <dgm:spPr/>
    </dgm:pt>
    <dgm:pt modelId="{F7CEB790-ADF0-43F2-8A4A-8061E818EE36}" type="pres">
      <dgm:prSet presAssocID="{12D72B99-6B12-409A-826A-F4F0E673BE2F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2A56E214-21F0-4DCA-B39A-95785B97D66C}" type="pres">
      <dgm:prSet presAssocID="{81F85E9D-B78A-433F-8261-1B9119FAF9EB}" presName="parTxOnlySpace" presStyleCnt="0"/>
      <dgm:spPr/>
    </dgm:pt>
    <dgm:pt modelId="{D7AF01AD-72F4-497D-8D6A-719727532B12}" type="pres">
      <dgm:prSet presAssocID="{A7C281AE-2C52-4ED9-AD67-7B8A70E02631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45825931-3BCB-45A7-96A0-7A606C00D68D}" srcId="{B482CB5F-0F31-4707-B2BC-629973CFB4B4}" destId="{F75B5AD7-FEF3-40E6-982D-CDE111F743F8}" srcOrd="1" destOrd="0" parTransId="{DE1BF46E-A9AF-4C4D-85FF-D4057835E9D2}" sibTransId="{730B8FD4-76A8-409D-A3B3-786FE6B95430}"/>
    <dgm:cxn modelId="{F878403F-FE8E-4D09-80D1-F6A0CE5ECFEE}" type="presOf" srcId="{B482CB5F-0F31-4707-B2BC-629973CFB4B4}" destId="{2808B75B-CDCA-429D-983E-B4760B8CCFAE}" srcOrd="0" destOrd="0" presId="urn:microsoft.com/office/officeart/2005/8/layout/chevron1"/>
    <dgm:cxn modelId="{E4CE7D5E-50B6-4677-B4C2-CA94DB257ED2}" type="presOf" srcId="{A7C281AE-2C52-4ED9-AD67-7B8A70E02631}" destId="{D7AF01AD-72F4-497D-8D6A-719727532B12}" srcOrd="0" destOrd="0" presId="urn:microsoft.com/office/officeart/2005/8/layout/chevron1"/>
    <dgm:cxn modelId="{BD9F965E-BB7C-456C-ADAD-1F592A08850F}" type="presOf" srcId="{12D72B99-6B12-409A-826A-F4F0E673BE2F}" destId="{F7CEB790-ADF0-43F2-8A4A-8061E818EE36}" srcOrd="0" destOrd="0" presId="urn:microsoft.com/office/officeart/2005/8/layout/chevron1"/>
    <dgm:cxn modelId="{9AA1B987-4E80-44DA-AA69-CB1C96F3EB86}" srcId="{B482CB5F-0F31-4707-B2BC-629973CFB4B4}" destId="{BC9E7E4F-055B-433E-A0F5-2314200C22AA}" srcOrd="0" destOrd="0" parTransId="{0DB8B896-8EFA-44EB-B37A-DBC06C789C5D}" sibTransId="{3B588624-0AD4-4745-B14E-1A30270C6B0F}"/>
    <dgm:cxn modelId="{5DF4A39A-4375-4722-B567-1B740233083D}" srcId="{B482CB5F-0F31-4707-B2BC-629973CFB4B4}" destId="{A7C281AE-2C52-4ED9-AD67-7B8A70E02631}" srcOrd="3" destOrd="0" parTransId="{C11260BF-E214-47D9-B40D-C339C2EF99C3}" sibTransId="{2A5B73B2-9770-4286-8E62-AE3F22763BD8}"/>
    <dgm:cxn modelId="{2500B4A4-7B85-48F4-BB60-BDF55EEE28D8}" type="presOf" srcId="{F75B5AD7-FEF3-40E6-982D-CDE111F743F8}" destId="{EB832203-95F6-4E01-93DA-684BD5A905EC}" srcOrd="0" destOrd="0" presId="urn:microsoft.com/office/officeart/2005/8/layout/chevron1"/>
    <dgm:cxn modelId="{7A29A9B2-333A-42BD-98F0-B5006E014DB7}" srcId="{B482CB5F-0F31-4707-B2BC-629973CFB4B4}" destId="{12D72B99-6B12-409A-826A-F4F0E673BE2F}" srcOrd="2" destOrd="0" parTransId="{FD771D06-3D38-4F1B-ACBB-E88C56AED09B}" sibTransId="{81F85E9D-B78A-433F-8261-1B9119FAF9EB}"/>
    <dgm:cxn modelId="{589EB6ED-B31D-4D2F-9A1C-A9ECAA211FE7}" type="presOf" srcId="{BC9E7E4F-055B-433E-A0F5-2314200C22AA}" destId="{459827DC-FF18-40A3-8B5A-741CDB3C043D}" srcOrd="0" destOrd="0" presId="urn:microsoft.com/office/officeart/2005/8/layout/chevron1"/>
    <dgm:cxn modelId="{E9CBB06C-42B8-4773-A3D8-09F4D5C12CF1}" type="presParOf" srcId="{2808B75B-CDCA-429D-983E-B4760B8CCFAE}" destId="{459827DC-FF18-40A3-8B5A-741CDB3C043D}" srcOrd="0" destOrd="0" presId="urn:microsoft.com/office/officeart/2005/8/layout/chevron1"/>
    <dgm:cxn modelId="{03F2753B-5404-4FA9-B5DF-C4E12E5CFDFF}" type="presParOf" srcId="{2808B75B-CDCA-429D-983E-B4760B8CCFAE}" destId="{8BC558A6-0C2F-4B07-83B8-DE85E50A8469}" srcOrd="1" destOrd="0" presId="urn:microsoft.com/office/officeart/2005/8/layout/chevron1"/>
    <dgm:cxn modelId="{E06AE091-F2BF-4D4C-9785-8A18B22D3189}" type="presParOf" srcId="{2808B75B-CDCA-429D-983E-B4760B8CCFAE}" destId="{EB832203-95F6-4E01-93DA-684BD5A905EC}" srcOrd="2" destOrd="0" presId="urn:microsoft.com/office/officeart/2005/8/layout/chevron1"/>
    <dgm:cxn modelId="{2CBC385F-E002-4207-A756-B08AAFF45A9D}" type="presParOf" srcId="{2808B75B-CDCA-429D-983E-B4760B8CCFAE}" destId="{7371826E-A205-4FBE-A1B7-DD918663CEF4}" srcOrd="3" destOrd="0" presId="urn:microsoft.com/office/officeart/2005/8/layout/chevron1"/>
    <dgm:cxn modelId="{D457A8F3-AFBE-4D7F-A6F6-7009E762CF13}" type="presParOf" srcId="{2808B75B-CDCA-429D-983E-B4760B8CCFAE}" destId="{F7CEB790-ADF0-43F2-8A4A-8061E818EE36}" srcOrd="4" destOrd="0" presId="urn:microsoft.com/office/officeart/2005/8/layout/chevron1"/>
    <dgm:cxn modelId="{ACD93E08-6694-4C64-91AC-BF4C37692107}" type="presParOf" srcId="{2808B75B-CDCA-429D-983E-B4760B8CCFAE}" destId="{2A56E214-21F0-4DCA-B39A-95785B97D66C}" srcOrd="5" destOrd="0" presId="urn:microsoft.com/office/officeart/2005/8/layout/chevron1"/>
    <dgm:cxn modelId="{449E88C0-B2F5-47D5-A8EA-A6519011F833}" type="presParOf" srcId="{2808B75B-CDCA-429D-983E-B4760B8CCFAE}" destId="{D7AF01AD-72F4-497D-8D6A-719727532B12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59827DC-FF18-40A3-8B5A-741CDB3C043D}">
      <dsp:nvSpPr>
        <dsp:cNvPr id="0" name=""/>
        <dsp:cNvSpPr/>
      </dsp:nvSpPr>
      <dsp:spPr>
        <a:xfrm>
          <a:off x="0" y="0"/>
          <a:ext cx="2556292" cy="640080"/>
        </a:xfrm>
        <a:prstGeom prst="chevron">
          <a:avLst/>
        </a:prstGeom>
        <a:solidFill>
          <a:srgbClr val="00819B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rgbClr val="FFFFFF"/>
              </a:solidFill>
              <a:latin typeface="Calibri" panose="020F0502020204030204"/>
              <a:ea typeface="+mn-ea"/>
              <a:cs typeface="+mn-cs"/>
            </a:rPr>
            <a:t>Traditional</a:t>
          </a:r>
          <a:br>
            <a:rPr lang="en-US" sz="1400" kern="1200" dirty="0">
              <a:solidFill>
                <a:srgbClr val="FFFFFF"/>
              </a:solidFill>
              <a:latin typeface="Calibri" panose="020F0502020204030204"/>
              <a:ea typeface="+mn-ea"/>
              <a:cs typeface="+mn-cs"/>
            </a:rPr>
          </a:br>
          <a:r>
            <a:rPr lang="en-US" sz="1400" kern="1200" dirty="0">
              <a:solidFill>
                <a:srgbClr val="FFFFFF"/>
              </a:solidFill>
              <a:latin typeface="Calibri" panose="020F0502020204030204"/>
              <a:ea typeface="+mn-ea"/>
              <a:cs typeface="+mn-cs"/>
            </a:rPr>
            <a:t>Engineering</a:t>
          </a:r>
        </a:p>
      </dsp:txBody>
      <dsp:txXfrm>
        <a:off x="320040" y="0"/>
        <a:ext cx="1916212" cy="640080"/>
      </dsp:txXfrm>
    </dsp:sp>
    <dsp:sp modelId="{EB832203-95F6-4E01-93DA-684BD5A905EC}">
      <dsp:nvSpPr>
        <dsp:cNvPr id="0" name=""/>
        <dsp:cNvSpPr/>
      </dsp:nvSpPr>
      <dsp:spPr>
        <a:xfrm>
          <a:off x="2305054" y="0"/>
          <a:ext cx="2556292" cy="640080"/>
        </a:xfrm>
        <a:prstGeom prst="chevron">
          <a:avLst/>
        </a:prstGeom>
        <a:solidFill>
          <a:srgbClr val="00819B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rgbClr val="FFFFFF"/>
              </a:solidFill>
              <a:latin typeface="Calibri" panose="020F0502020204030204"/>
              <a:ea typeface="+mn-ea"/>
              <a:cs typeface="+mn-cs"/>
            </a:rPr>
            <a:t>Model-Based Engineering</a:t>
          </a:r>
        </a:p>
      </dsp:txBody>
      <dsp:txXfrm>
        <a:off x="2625094" y="0"/>
        <a:ext cx="1916212" cy="640080"/>
      </dsp:txXfrm>
    </dsp:sp>
    <dsp:sp modelId="{F7CEB790-ADF0-43F2-8A4A-8061E818EE36}">
      <dsp:nvSpPr>
        <dsp:cNvPr id="0" name=""/>
        <dsp:cNvSpPr/>
      </dsp:nvSpPr>
      <dsp:spPr>
        <a:xfrm>
          <a:off x="4605717" y="0"/>
          <a:ext cx="2556292" cy="640080"/>
        </a:xfrm>
        <a:prstGeom prst="chevron">
          <a:avLst/>
        </a:prstGeom>
        <a:solidFill>
          <a:srgbClr val="00819B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rgbClr val="FFFFFF"/>
              </a:solidFill>
              <a:latin typeface="Calibri" panose="020F0502020204030204"/>
              <a:ea typeface="+mn-ea"/>
              <a:cs typeface="+mn-cs"/>
            </a:rPr>
            <a:t>Verification-Based Engineering</a:t>
          </a:r>
        </a:p>
      </dsp:txBody>
      <dsp:txXfrm>
        <a:off x="4925757" y="0"/>
        <a:ext cx="1916212" cy="640080"/>
      </dsp:txXfrm>
    </dsp:sp>
    <dsp:sp modelId="{D7AF01AD-72F4-497D-8D6A-719727532B12}">
      <dsp:nvSpPr>
        <dsp:cNvPr id="0" name=""/>
        <dsp:cNvSpPr/>
      </dsp:nvSpPr>
      <dsp:spPr>
        <a:xfrm>
          <a:off x="6906381" y="0"/>
          <a:ext cx="2556292" cy="640080"/>
        </a:xfrm>
        <a:prstGeom prst="chevron">
          <a:avLst/>
        </a:prstGeom>
        <a:solidFill>
          <a:srgbClr val="00819B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rgbClr val="FFFFFF"/>
              </a:solidFill>
              <a:latin typeface="Calibri" panose="020F0502020204030204"/>
              <a:ea typeface="+mn-ea"/>
              <a:cs typeface="+mn-cs"/>
            </a:rPr>
            <a:t>Synthesis-Based Engineering</a:t>
          </a:r>
        </a:p>
      </dsp:txBody>
      <dsp:txXfrm>
        <a:off x="7226421" y="0"/>
        <a:ext cx="1916212" cy="64008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980BA8-2C83-41F2-9BB0-A0451D77C81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D8B9133-E6E2-4584-AF14-734B0FFDE0A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DDEA371-7686-4FB6-90C9-9F6224A2DA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21E696-4F56-4B84-A45D-59D0F5152707}" type="datetimeFigureOut">
              <a:rPr lang="en-US" smtClean="0"/>
              <a:t>27-Mar-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DAE2E4-EE20-466C-8064-B2FCCA2C6F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92432F0-0954-4ED7-8966-D3D7B31323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F2692D-C53A-4A4F-941A-6460551907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5400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6AE4134-DB15-4917-BC3C-6681E86472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DBAC991-3824-45C7-A0F8-E807D311DD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BC20D9B-49C6-433B-A888-0FDDF23DFB0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221E696-4F56-4B84-A45D-59D0F5152707}" type="datetimeFigureOut">
              <a:rPr lang="en-US" smtClean="0"/>
              <a:t>27-Mar-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6A6C948-72E4-4FCE-9CD3-40FE8B7FFC2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77A6AFD-48A7-4372-B4D3-A6436F600B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0F2692D-C53A-4A4F-941A-6460551907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83603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Content Placeholder 9">
            <a:extLst>
              <a:ext uri="{FF2B5EF4-FFF2-40B4-BE49-F238E27FC236}">
                <a16:creationId xmlns:a16="http://schemas.microsoft.com/office/drawing/2014/main" id="{1FCD4A11-37EC-4184-BC5D-835EB9C2565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21554005"/>
              </p:ext>
            </p:extLst>
          </p:nvPr>
        </p:nvGraphicFramePr>
        <p:xfrm>
          <a:off x="2534758" y="1417320"/>
          <a:ext cx="9467065" cy="6400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6" name="TextBox 35">
            <a:extLst>
              <a:ext uri="{FF2B5EF4-FFF2-40B4-BE49-F238E27FC236}">
                <a16:creationId xmlns:a16="http://schemas.microsoft.com/office/drawing/2014/main" id="{23AFF4B8-7F2D-4AC4-9857-A8ED41491596}"/>
              </a:ext>
            </a:extLst>
          </p:cNvPr>
          <p:cNvSpPr txBox="1"/>
          <p:nvPr/>
        </p:nvSpPr>
        <p:spPr>
          <a:xfrm>
            <a:off x="150194" y="2161139"/>
            <a:ext cx="2294999" cy="548640"/>
          </a:xfrm>
          <a:prstGeom prst="rect">
            <a:avLst/>
          </a:prstGeom>
          <a:solidFill>
            <a:srgbClr val="00819B"/>
          </a:solidFill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Requirements design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7810139C-774D-4BFD-974E-96F1233ABBCB}"/>
              </a:ext>
            </a:extLst>
          </p:cNvPr>
          <p:cNvSpPr txBox="1"/>
          <p:nvPr/>
        </p:nvSpPr>
        <p:spPr>
          <a:xfrm>
            <a:off x="150194" y="2798064"/>
            <a:ext cx="2294999" cy="548640"/>
          </a:xfrm>
          <a:prstGeom prst="rect">
            <a:avLst/>
          </a:prstGeom>
          <a:solidFill>
            <a:srgbClr val="00819B"/>
          </a:solidFill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Controller design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2C34CBA7-E160-4B23-A012-49230C7B7740}"/>
              </a:ext>
            </a:extLst>
          </p:cNvPr>
          <p:cNvSpPr txBox="1"/>
          <p:nvPr/>
        </p:nvSpPr>
        <p:spPr>
          <a:xfrm>
            <a:off x="150194" y="3419856"/>
            <a:ext cx="2294999" cy="548640"/>
          </a:xfrm>
          <a:prstGeom prst="rect">
            <a:avLst/>
          </a:prstGeom>
          <a:solidFill>
            <a:srgbClr val="00819B"/>
          </a:solidFill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Realization in softwar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(implementation code)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E155808B-817D-483B-8858-29CB7C70B4FC}"/>
              </a:ext>
            </a:extLst>
          </p:cNvPr>
          <p:cNvSpPr txBox="1"/>
          <p:nvPr/>
        </p:nvSpPr>
        <p:spPr>
          <a:xfrm>
            <a:off x="150194" y="4041648"/>
            <a:ext cx="2294999" cy="548640"/>
          </a:xfrm>
          <a:prstGeom prst="rect">
            <a:avLst/>
          </a:prstGeom>
          <a:solidFill>
            <a:srgbClr val="00819B"/>
          </a:solidFill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Verification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(against requirements)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8EA02655-BEB2-4248-B298-5E71DC80CDA3}"/>
              </a:ext>
            </a:extLst>
          </p:cNvPr>
          <p:cNvSpPr txBox="1"/>
          <p:nvPr/>
        </p:nvSpPr>
        <p:spPr>
          <a:xfrm>
            <a:off x="150194" y="4672584"/>
            <a:ext cx="2294999" cy="548640"/>
          </a:xfrm>
          <a:prstGeom prst="rect">
            <a:avLst/>
          </a:prstGeom>
          <a:solidFill>
            <a:srgbClr val="00819B"/>
          </a:solidFill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Validation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(of requirements)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83AAC78A-E553-4FC5-A533-607B1CCFECB5}"/>
              </a:ext>
            </a:extLst>
          </p:cNvPr>
          <p:cNvSpPr txBox="1"/>
          <p:nvPr/>
        </p:nvSpPr>
        <p:spPr>
          <a:xfrm>
            <a:off x="2575276" y="2161139"/>
            <a:ext cx="2201142" cy="548640"/>
          </a:xfrm>
          <a:prstGeom prst="rect">
            <a:avLst/>
          </a:prstGeom>
          <a:solidFill>
            <a:srgbClr val="00819B">
              <a:alpha val="20000"/>
            </a:srgbClr>
          </a:solidFill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</a:rPr>
              <a:t>Document-based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95000"/>
                  <a:lumOff val="5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B907B717-3F29-4B55-8697-253DBC4CD399}"/>
              </a:ext>
            </a:extLst>
          </p:cNvPr>
          <p:cNvSpPr txBox="1"/>
          <p:nvPr/>
        </p:nvSpPr>
        <p:spPr>
          <a:xfrm>
            <a:off x="2575276" y="2798064"/>
            <a:ext cx="2201142" cy="548640"/>
          </a:xfrm>
          <a:prstGeom prst="rect">
            <a:avLst/>
          </a:prstGeom>
          <a:solidFill>
            <a:srgbClr val="00819B">
              <a:alpha val="20000"/>
            </a:srgbClr>
          </a:solidFill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</a:rPr>
              <a:t>Document-based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A2B19925-A611-4966-B4E0-1D406399EC7A}"/>
              </a:ext>
            </a:extLst>
          </p:cNvPr>
          <p:cNvSpPr txBox="1"/>
          <p:nvPr/>
        </p:nvSpPr>
        <p:spPr>
          <a:xfrm>
            <a:off x="2575276" y="3419856"/>
            <a:ext cx="2201142" cy="548640"/>
          </a:xfrm>
          <a:prstGeom prst="rect">
            <a:avLst/>
          </a:prstGeom>
          <a:solidFill>
            <a:srgbClr val="00819B">
              <a:alpha val="20000"/>
            </a:srgbClr>
          </a:solidFill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</a:rPr>
              <a:t>Traditional software engineering (coding)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3E1A7FE7-F3B9-4E7A-A9F1-CABCE993BDF7}"/>
              </a:ext>
            </a:extLst>
          </p:cNvPr>
          <p:cNvSpPr txBox="1"/>
          <p:nvPr/>
        </p:nvSpPr>
        <p:spPr>
          <a:xfrm>
            <a:off x="2575276" y="4041648"/>
            <a:ext cx="2201142" cy="548640"/>
          </a:xfrm>
          <a:prstGeom prst="rect">
            <a:avLst/>
          </a:prstGeom>
          <a:solidFill>
            <a:srgbClr val="00819B">
              <a:alpha val="20000"/>
            </a:srgbClr>
          </a:solidFill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</a:rPr>
              <a:t>Testing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95000"/>
                  <a:lumOff val="5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C4815EF1-F069-4566-BCBE-DE69B4973132}"/>
              </a:ext>
            </a:extLst>
          </p:cNvPr>
          <p:cNvSpPr txBox="1"/>
          <p:nvPr/>
        </p:nvSpPr>
        <p:spPr>
          <a:xfrm>
            <a:off x="2575276" y="4672584"/>
            <a:ext cx="2201142" cy="548640"/>
          </a:xfrm>
          <a:prstGeom prst="rect">
            <a:avLst/>
          </a:prstGeom>
          <a:solidFill>
            <a:srgbClr val="00819B">
              <a:alpha val="20000"/>
            </a:srgbClr>
          </a:solidFill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</a:rPr>
              <a:t>Testing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E3D1C0C0-C870-403F-9BBA-35540F3C4382}"/>
              </a:ext>
            </a:extLst>
          </p:cNvPr>
          <p:cNvSpPr txBox="1"/>
          <p:nvPr/>
        </p:nvSpPr>
        <p:spPr>
          <a:xfrm>
            <a:off x="4878572" y="2161139"/>
            <a:ext cx="2201142" cy="548640"/>
          </a:xfrm>
          <a:prstGeom prst="rect">
            <a:avLst/>
          </a:prstGeom>
          <a:solidFill>
            <a:srgbClr val="00819B">
              <a:alpha val="20000"/>
            </a:srgbClr>
          </a:solidFill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</a:rPr>
              <a:t>Document-based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95000"/>
                  <a:lumOff val="5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1F4DD851-5A29-47CB-AE82-FD8A500E1D43}"/>
              </a:ext>
            </a:extLst>
          </p:cNvPr>
          <p:cNvSpPr txBox="1"/>
          <p:nvPr/>
        </p:nvSpPr>
        <p:spPr>
          <a:xfrm>
            <a:off x="4878572" y="2798064"/>
            <a:ext cx="2201142" cy="548640"/>
          </a:xfrm>
          <a:prstGeom prst="rect">
            <a:avLst/>
          </a:prstGeom>
          <a:solidFill>
            <a:srgbClr val="00819B">
              <a:alpha val="20000"/>
            </a:srgbClr>
          </a:solidFill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</a:rPr>
              <a:t>Model-based (formal)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61239E52-E036-478F-AD53-E36736F85955}"/>
              </a:ext>
            </a:extLst>
          </p:cNvPr>
          <p:cNvSpPr txBox="1"/>
          <p:nvPr/>
        </p:nvSpPr>
        <p:spPr>
          <a:xfrm>
            <a:off x="4878572" y="3419856"/>
            <a:ext cx="2201142" cy="548640"/>
          </a:xfrm>
          <a:prstGeom prst="rect">
            <a:avLst/>
          </a:prstGeom>
          <a:solidFill>
            <a:srgbClr val="FFFFFF">
              <a:lumMod val="95000"/>
            </a:srgbClr>
          </a:solidFill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</a:rPr>
              <a:t>Code generation</a:t>
            </a:r>
            <a:b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</a:rPr>
            </a:b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</a:rPr>
              <a:t>(fault-free code)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FEB111B5-0FE5-4AC9-863C-586733FB1AA0}"/>
              </a:ext>
            </a:extLst>
          </p:cNvPr>
          <p:cNvSpPr txBox="1"/>
          <p:nvPr/>
        </p:nvSpPr>
        <p:spPr>
          <a:xfrm>
            <a:off x="4878572" y="4041648"/>
            <a:ext cx="2201142" cy="548640"/>
          </a:xfrm>
          <a:prstGeom prst="rect">
            <a:avLst/>
          </a:prstGeom>
          <a:solidFill>
            <a:srgbClr val="00819B">
              <a:alpha val="20000"/>
            </a:srgbClr>
          </a:solidFill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</a:rPr>
              <a:t>Testing +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</a:rPr>
              <a:t>Model-based testing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95000"/>
                  <a:lumOff val="5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FBB23B13-A363-43C2-80F1-A580E3438FFC}"/>
              </a:ext>
            </a:extLst>
          </p:cNvPr>
          <p:cNvSpPr txBox="1"/>
          <p:nvPr/>
        </p:nvSpPr>
        <p:spPr>
          <a:xfrm>
            <a:off x="4878572" y="4672584"/>
            <a:ext cx="2201142" cy="548640"/>
          </a:xfrm>
          <a:prstGeom prst="rect">
            <a:avLst/>
          </a:prstGeom>
          <a:solidFill>
            <a:srgbClr val="00819B">
              <a:alpha val="20000"/>
            </a:srgbClr>
          </a:solidFill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</a:rPr>
              <a:t>Testing +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</a:rPr>
              <a:t>Simulation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A5C52E99-1DD2-4F00-AE57-3F0DD6A444F8}"/>
              </a:ext>
            </a:extLst>
          </p:cNvPr>
          <p:cNvSpPr txBox="1"/>
          <p:nvPr/>
        </p:nvSpPr>
        <p:spPr>
          <a:xfrm>
            <a:off x="7182084" y="2161139"/>
            <a:ext cx="2201142" cy="548640"/>
          </a:xfrm>
          <a:prstGeom prst="rect">
            <a:avLst/>
          </a:prstGeom>
          <a:solidFill>
            <a:srgbClr val="00819B">
              <a:alpha val="20000"/>
            </a:srgbClr>
          </a:solidFill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</a:rPr>
              <a:t>Model-based (formal)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95000"/>
                  <a:lumOff val="5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36CCCAD3-F2F6-467C-A063-8ECF7CECBA45}"/>
              </a:ext>
            </a:extLst>
          </p:cNvPr>
          <p:cNvSpPr txBox="1"/>
          <p:nvPr/>
        </p:nvSpPr>
        <p:spPr>
          <a:xfrm>
            <a:off x="7182084" y="2798064"/>
            <a:ext cx="2201142" cy="548640"/>
          </a:xfrm>
          <a:prstGeom prst="rect">
            <a:avLst/>
          </a:prstGeom>
          <a:solidFill>
            <a:srgbClr val="00819B">
              <a:alpha val="20000"/>
            </a:srgbClr>
          </a:solidFill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</a:rPr>
              <a:t>Model-based (formal)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F3332C0A-F117-4188-A304-C3F2218012E8}"/>
              </a:ext>
            </a:extLst>
          </p:cNvPr>
          <p:cNvSpPr txBox="1"/>
          <p:nvPr/>
        </p:nvSpPr>
        <p:spPr>
          <a:xfrm>
            <a:off x="7182084" y="3419856"/>
            <a:ext cx="2201142" cy="548640"/>
          </a:xfrm>
          <a:prstGeom prst="rect">
            <a:avLst/>
          </a:prstGeom>
          <a:solidFill>
            <a:srgbClr val="FFFFFF">
              <a:lumMod val="95000"/>
            </a:srgbClr>
          </a:solidFill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</a:rPr>
              <a:t>Code generation</a:t>
            </a:r>
            <a:b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</a:rPr>
            </a:b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</a:rPr>
              <a:t>(fault-free code)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A976D24E-56A7-481F-837C-308F0FC4CA5B}"/>
              </a:ext>
            </a:extLst>
          </p:cNvPr>
          <p:cNvSpPr txBox="1"/>
          <p:nvPr/>
        </p:nvSpPr>
        <p:spPr>
          <a:xfrm>
            <a:off x="7182084" y="4041648"/>
            <a:ext cx="2201142" cy="548640"/>
          </a:xfrm>
          <a:prstGeom prst="rect">
            <a:avLst/>
          </a:prstGeom>
          <a:solidFill>
            <a:srgbClr val="FFFFFF">
              <a:lumMod val="95000"/>
            </a:srgbClr>
          </a:solidFill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</a:rPr>
              <a:t>Formal verification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kern="0" dirty="0">
                <a:solidFill>
                  <a:schemeClr val="tx1">
                    <a:lumMod val="95000"/>
                    <a:lumOff val="5000"/>
                  </a:schemeClr>
                </a:solidFill>
              </a:rPr>
              <a:t>(model checking)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95000"/>
                  <a:lumOff val="5000"/>
                </a:schemeClr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95000"/>
                  <a:lumOff val="5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7964BCEC-2989-437D-8571-C20E33C6DE45}"/>
              </a:ext>
            </a:extLst>
          </p:cNvPr>
          <p:cNvSpPr txBox="1"/>
          <p:nvPr/>
        </p:nvSpPr>
        <p:spPr>
          <a:xfrm>
            <a:off x="7182084" y="4672584"/>
            <a:ext cx="2201142" cy="548640"/>
          </a:xfrm>
          <a:prstGeom prst="rect">
            <a:avLst/>
          </a:prstGeom>
          <a:solidFill>
            <a:srgbClr val="00819B">
              <a:alpha val="20000"/>
            </a:srgbClr>
          </a:solidFill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</a:rPr>
              <a:t>Testing +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</a:rPr>
              <a:t>Simulation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F7250A97-6667-4ED5-8AD8-89595484608B}"/>
              </a:ext>
            </a:extLst>
          </p:cNvPr>
          <p:cNvSpPr txBox="1"/>
          <p:nvPr/>
        </p:nvSpPr>
        <p:spPr>
          <a:xfrm>
            <a:off x="9473444" y="2161139"/>
            <a:ext cx="2201142" cy="548640"/>
          </a:xfrm>
          <a:prstGeom prst="rect">
            <a:avLst/>
          </a:prstGeom>
          <a:solidFill>
            <a:srgbClr val="00819B">
              <a:alpha val="20000"/>
            </a:srgbClr>
          </a:solidFill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</a:rPr>
              <a:t>Model-based (formal)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95000"/>
                  <a:lumOff val="5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B89AFE7F-FED1-4B6E-82A9-013A2BBF693F}"/>
              </a:ext>
            </a:extLst>
          </p:cNvPr>
          <p:cNvSpPr txBox="1"/>
          <p:nvPr/>
        </p:nvSpPr>
        <p:spPr>
          <a:xfrm>
            <a:off x="9473444" y="2798064"/>
            <a:ext cx="2201142" cy="548640"/>
          </a:xfrm>
          <a:prstGeom prst="rect">
            <a:avLst/>
          </a:prstGeom>
          <a:solidFill>
            <a:srgbClr val="FFFFFF">
              <a:lumMod val="95000"/>
            </a:srgbClr>
          </a:solidFill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</a:rPr>
              <a:t>Computer-aided (formal)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A8707FD3-5502-498A-B257-B481F686BB4F}"/>
              </a:ext>
            </a:extLst>
          </p:cNvPr>
          <p:cNvSpPr txBox="1"/>
          <p:nvPr/>
        </p:nvSpPr>
        <p:spPr>
          <a:xfrm>
            <a:off x="9473444" y="3419856"/>
            <a:ext cx="2201142" cy="548640"/>
          </a:xfrm>
          <a:prstGeom prst="rect">
            <a:avLst/>
          </a:prstGeom>
          <a:solidFill>
            <a:srgbClr val="FFFFFF">
              <a:lumMod val="95000"/>
            </a:srgbClr>
          </a:solidFill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</a:rPr>
              <a:t>Code generation</a:t>
            </a:r>
            <a:b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</a:rPr>
            </a:b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</a:rPr>
              <a:t>(fault-free code)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9A16A75D-95BF-4255-A1AB-573FAC77FC14}"/>
              </a:ext>
            </a:extLst>
          </p:cNvPr>
          <p:cNvSpPr txBox="1"/>
          <p:nvPr/>
        </p:nvSpPr>
        <p:spPr>
          <a:xfrm>
            <a:off x="9473444" y="4041648"/>
            <a:ext cx="2201142" cy="548640"/>
          </a:xfrm>
          <a:prstGeom prst="rect">
            <a:avLst/>
          </a:prstGeom>
          <a:solidFill>
            <a:srgbClr val="FFFFFF">
              <a:lumMod val="95000"/>
            </a:srgbClr>
          </a:solidFill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</a:rPr>
              <a:t>Correct-by-construction (guaranteed)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95000"/>
                  <a:lumOff val="5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C9600256-747F-4E9B-9380-82E36ACF833C}"/>
              </a:ext>
            </a:extLst>
          </p:cNvPr>
          <p:cNvSpPr txBox="1"/>
          <p:nvPr/>
        </p:nvSpPr>
        <p:spPr>
          <a:xfrm>
            <a:off x="9473444" y="4672584"/>
            <a:ext cx="2201142" cy="548640"/>
          </a:xfrm>
          <a:prstGeom prst="rect">
            <a:avLst/>
          </a:prstGeom>
          <a:solidFill>
            <a:srgbClr val="00819B">
              <a:alpha val="20000"/>
            </a:srgbClr>
          </a:solidFill>
        </p:spPr>
        <p:txBody>
          <a:bodyPr wrap="square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</a:rPr>
              <a:t>Testing +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</a:rPr>
              <a:t>Simulation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50F93F2E-4B1D-415C-AA56-C9DE1235F4FE}"/>
              </a:ext>
            </a:extLst>
          </p:cNvPr>
          <p:cNvSpPr txBox="1"/>
          <p:nvPr/>
        </p:nvSpPr>
        <p:spPr>
          <a:xfrm>
            <a:off x="915404" y="5367528"/>
            <a:ext cx="1709228" cy="320040"/>
          </a:xfrm>
          <a:prstGeom prst="rect">
            <a:avLst/>
          </a:prstGeom>
          <a:solidFill>
            <a:srgbClr val="00819B">
              <a:alpha val="20000"/>
            </a:srgbClr>
          </a:solidFill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</a:rPr>
              <a:t>Manual work / Focus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ECEE53E8-8C61-466E-8190-F5DB4C31E002}"/>
              </a:ext>
            </a:extLst>
          </p:cNvPr>
          <p:cNvSpPr txBox="1"/>
          <p:nvPr/>
        </p:nvSpPr>
        <p:spPr>
          <a:xfrm>
            <a:off x="2831413" y="5367528"/>
            <a:ext cx="1554480" cy="320040"/>
          </a:xfrm>
          <a:prstGeom prst="rect">
            <a:avLst/>
          </a:prstGeom>
          <a:solidFill>
            <a:srgbClr val="FFFFFF">
              <a:lumMod val="95000"/>
            </a:srgbClr>
          </a:solidFill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</a:rPr>
              <a:t>(Semi-)automatic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FD16081F-0941-4527-8968-D0FD4B7A9401}"/>
              </a:ext>
            </a:extLst>
          </p:cNvPr>
          <p:cNvSpPr txBox="1"/>
          <p:nvPr/>
        </p:nvSpPr>
        <p:spPr>
          <a:xfrm>
            <a:off x="155191" y="5373660"/>
            <a:ext cx="669414" cy="307777"/>
          </a:xfrm>
          <a:prstGeom prst="rect">
            <a:avLst/>
          </a:prstGeom>
          <a:noFill/>
        </p:spPr>
        <p:txBody>
          <a:bodyPr wrap="none" lIns="0" rtlCol="0" anchor="ctr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</a:rPr>
              <a:t>Legend: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68A74E90-07E3-41B6-8CA3-7F434A9BA354}"/>
              </a:ext>
            </a:extLst>
          </p:cNvPr>
          <p:cNvSpPr txBox="1"/>
          <p:nvPr/>
        </p:nvSpPr>
        <p:spPr>
          <a:xfrm>
            <a:off x="522692" y="1435609"/>
            <a:ext cx="2042033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r"/>
            <a:r>
              <a:rPr lang="en-US" sz="1400" b="1" dirty="0">
                <a:solidFill>
                  <a:srgbClr val="00819B"/>
                </a:solidFill>
              </a:rPr>
              <a:t>Engineering approach </a:t>
            </a:r>
            <a:r>
              <a:rPr lang="en-US" sz="1400" b="1" dirty="0">
                <a:solidFill>
                  <a:srgbClr val="00819B"/>
                </a:solidFill>
                <a:cs typeface="Calibri" panose="020F0502020204030204" pitchFamily="34" charset="0"/>
              </a:rPr>
              <a:t>→</a:t>
            </a:r>
            <a:endParaRPr lang="en-US" sz="1400" b="1" dirty="0">
              <a:solidFill>
                <a:srgbClr val="00819B"/>
              </a:solidFill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5A24566B-D3AE-472E-A796-B8B7E8952684}"/>
              </a:ext>
            </a:extLst>
          </p:cNvPr>
          <p:cNvSpPr txBox="1"/>
          <p:nvPr/>
        </p:nvSpPr>
        <p:spPr>
          <a:xfrm>
            <a:off x="193050" y="1914460"/>
            <a:ext cx="1719902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sz="1400" b="1" dirty="0">
                <a:solidFill>
                  <a:srgbClr val="00819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↓ Development s</a:t>
            </a:r>
            <a:r>
              <a:rPr lang="en-US" sz="1400" b="1" dirty="0">
                <a:solidFill>
                  <a:srgbClr val="00819B"/>
                </a:solidFill>
              </a:rPr>
              <a:t>tep</a:t>
            </a:r>
          </a:p>
        </p:txBody>
      </p:sp>
    </p:spTree>
    <p:extLst>
      <p:ext uri="{BB962C8B-B14F-4D97-AF65-F5344CB8AC3E}">
        <p14:creationId xmlns:p14="http://schemas.microsoft.com/office/powerpoint/2010/main" val="4094543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EBAQEBAQEBAQEBAQEBAQIAAAAAAAAAAwAAAAMAAAAA/////wQADwwAAAAAAAAAAAAAIAD///////////////8AAAD///////////////8DAAAAAwD///////8DAAAAAwD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4qv9dICPLlAgCRsVSZbjyQFAAAAAAADAAAAAwADAAAAAQADAAAAAwD///////8DAAAAAwD///////8DAAQA////////BAAAAAMAEAALAsmWBtWgWEOOm/ba7Xnz7QUAAAABAAMAAAAAAAMAAAACAAMAAAAAAAMAAAACAAMAAAAAAAMAAAACAAMAAAAA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wMAAAAAAAAAAAAACAB////////////////AAAA////////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AQEDAAAAAwD///////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Iqv9dICPLlAgCRsVSZbjyQDRGF0YQAbAAAABExpbmtlZFNoYXBlRGF0YQAFAAAAAAACTmFtZQAZAAAATGlua2VkU2hhcGVzRGF0YVByb3BlcnR5ABBWZXJzaW9uAAAAAAAJTGFzdFdyaXRlAGPGgl5/AQAAAAEA/////8YAxgAAAAVfaWQAEAAAAAQCyZYG1aBYQ46b9trtefPtA0RhdGEAUwAAAAhQcmVzZW50YXRpb25TY2FubmVkRm9yTGlua2VkU2hhcGVzAAECTnVtYmVyRm9ybWF0U2VwYXJhdG9yTW9kZQAKAAAAQXV0b21hdGljAAACTmFtZQAkAAAATGlua2VkU2hhcGVQcmVzZW50YXRpb25TZXR0aW5nc0RhdGEAEFZlcnNpb24AAAAAAAlMYXN0V3JpdGUAksaCXn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5</TotalTime>
  <Words>121</Words>
  <Application>Microsoft Office PowerPoint</Application>
  <PresentationFormat>Widescreen</PresentationFormat>
  <Paragraphs>42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Calibri</vt:lpstr>
      <vt:lpstr>Calibri Light</vt:lpstr>
      <vt:lpstr>Office Them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lastModifiedBy>Dennis Hendriks - DHFS</cp:lastModifiedBy>
  <cp:revision>12</cp:revision>
  <dcterms:created xsi:type="dcterms:W3CDTF">2022-03-06T09:15:02Z</dcterms:created>
  <dcterms:modified xsi:type="dcterms:W3CDTF">2022-03-27T13:52:26Z</dcterms:modified>
</cp:coreProperties>
</file>